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94" r:id="rId2"/>
    <p:sldId id="828" r:id="rId3"/>
    <p:sldId id="829" r:id="rId4"/>
    <p:sldId id="821" r:id="rId5"/>
    <p:sldId id="827" r:id="rId6"/>
    <p:sldId id="826" r:id="rId7"/>
    <p:sldId id="304" r:id="rId8"/>
    <p:sldId id="303" r:id="rId9"/>
    <p:sldId id="305" r:id="rId10"/>
    <p:sldId id="275" r:id="rId11"/>
  </p:sldIdLst>
  <p:sldSz cx="9144000" cy="6858000" type="screen4x3"/>
  <p:notesSz cx="6888163" cy="100203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91" autoAdjust="0"/>
    <p:restoredTop sz="94660"/>
  </p:normalViewPr>
  <p:slideViewPr>
    <p:cSldViewPr>
      <p:cViewPr varScale="1">
        <p:scale>
          <a:sx n="103" d="100"/>
          <a:sy n="103" d="100"/>
        </p:scale>
        <p:origin x="216" y="108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Y="-38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02952A2-E36A-4C36-9F3E-BBB3A16BEAFF}" type="presOf" srcId="{CBB2EDB4-08BF-49DB-9282-C363CE23E3D0}" destId="{7099C5AD-A666-455F-9144-31509FAE35FB}" srcOrd="0" destOrd="0" presId="urn:microsoft.com/office/officeart/2005/8/layout/pyramid1"/>
    <dgm:cxn modelId="{792CBD91-D1FA-4645-B0E6-1E344FDF5B5F}" type="presOf" srcId="{F014B99B-BC0F-4D51-AA35-03139CBC5BDF}" destId="{158BBE6D-1C8E-4142-827F-B1B32D20364B}" srcOrd="1" destOrd="0" presId="urn:microsoft.com/office/officeart/2005/8/layout/pyramid1"/>
    <dgm:cxn modelId="{CB6F3BE7-F153-4CED-8270-72A0F84A15F2}" type="presOf" srcId="{CBB2EDB4-08BF-49DB-9282-C363CE23E3D0}" destId="{8064A9E2-4365-4891-A563-4210D9FE6047}" srcOrd="1" destOrd="0" presId="urn:microsoft.com/office/officeart/2005/8/layout/pyramid1"/>
    <dgm:cxn modelId="{EBAC2FB6-06C0-4A9E-9E1C-FA45C82478E1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84A2119-F004-4EA4-91AB-934B6F8401A9}" type="presOf" srcId="{8380A261-4409-4C6B-8A07-0D64C5422F6D}" destId="{3405B94A-B110-4EB0-B99D-680A85764021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87C54C2A-2433-412F-AFDC-EF80684BA9FB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1E5B1BBB-EB15-427C-923B-76FB6018FA59}" type="presOf" srcId="{8380A261-4409-4C6B-8A07-0D64C5422F6D}" destId="{EB789FCB-B92C-4A52-BB06-4A95FA62001B}" srcOrd="1" destOrd="0" presId="urn:microsoft.com/office/officeart/2005/8/layout/pyramid1"/>
    <dgm:cxn modelId="{FC54928D-8489-45BE-A419-478DF3152712}" type="presParOf" srcId="{8C222443-D6D5-437E-8A06-7845FF64044F}" destId="{8E592AC7-B094-488F-86DE-8B46AA43A5F7}" srcOrd="0" destOrd="0" presId="urn:microsoft.com/office/officeart/2005/8/layout/pyramid1"/>
    <dgm:cxn modelId="{DC294B94-6F0D-4281-8DCC-7EE503DCE163}" type="presParOf" srcId="{8E592AC7-B094-488F-86DE-8B46AA43A5F7}" destId="{47753778-DDCD-4F66-8671-0963E55AC1AB}" srcOrd="0" destOrd="0" presId="urn:microsoft.com/office/officeart/2005/8/layout/pyramid1"/>
    <dgm:cxn modelId="{32B8B60D-2A65-4E4C-9F0F-98AF62A9611C}" type="presParOf" srcId="{8E592AC7-B094-488F-86DE-8B46AA43A5F7}" destId="{158BBE6D-1C8E-4142-827F-B1B32D20364B}" srcOrd="1" destOrd="0" presId="urn:microsoft.com/office/officeart/2005/8/layout/pyramid1"/>
    <dgm:cxn modelId="{4C8D2E90-553F-4C69-9633-5DB19C6B4730}" type="presParOf" srcId="{8C222443-D6D5-437E-8A06-7845FF64044F}" destId="{08609C55-E487-4600-AFD0-8994D3888F22}" srcOrd="1" destOrd="0" presId="urn:microsoft.com/office/officeart/2005/8/layout/pyramid1"/>
    <dgm:cxn modelId="{9AE41948-5B39-48DA-8B26-40AF888C607C}" type="presParOf" srcId="{08609C55-E487-4600-AFD0-8994D3888F22}" destId="{7099C5AD-A666-455F-9144-31509FAE35FB}" srcOrd="0" destOrd="0" presId="urn:microsoft.com/office/officeart/2005/8/layout/pyramid1"/>
    <dgm:cxn modelId="{EDA768DD-D368-40A1-A0BA-204DC4265C49}" type="presParOf" srcId="{08609C55-E487-4600-AFD0-8994D3888F22}" destId="{8064A9E2-4365-4891-A563-4210D9FE6047}" srcOrd="1" destOrd="0" presId="urn:microsoft.com/office/officeart/2005/8/layout/pyramid1"/>
    <dgm:cxn modelId="{EE52A2AF-CD13-415D-9E54-7F7697F26A0C}" type="presParOf" srcId="{8C222443-D6D5-437E-8A06-7845FF64044F}" destId="{4E66420A-6794-4210-A8DC-A681DFE94B26}" srcOrd="2" destOrd="0" presId="urn:microsoft.com/office/officeart/2005/8/layout/pyramid1"/>
    <dgm:cxn modelId="{3162D02E-FA21-4300-B51B-7304BA500A88}" type="presParOf" srcId="{4E66420A-6794-4210-A8DC-A681DFE94B26}" destId="{3405B94A-B110-4EB0-B99D-680A85764021}" srcOrd="0" destOrd="0" presId="urn:microsoft.com/office/officeart/2005/8/layout/pyramid1"/>
    <dgm:cxn modelId="{48E779E7-74C8-4ED9-B4DB-8D03ECADD262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3297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87603" y="3453297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4870" cy="501015"/>
          </a:xfrm>
          <a:prstGeom prst="rect">
            <a:avLst/>
          </a:prstGeom>
        </p:spPr>
        <p:txBody>
          <a:bodyPr vert="horz" lIns="92437" tIns="46218" rIns="92437" bIns="4621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01699" y="0"/>
            <a:ext cx="2984870" cy="501015"/>
          </a:xfrm>
          <a:prstGeom prst="rect">
            <a:avLst/>
          </a:prstGeom>
        </p:spPr>
        <p:txBody>
          <a:bodyPr vert="horz" lIns="92437" tIns="46218" rIns="92437" bIns="46218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25.03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8213" y="750888"/>
            <a:ext cx="5011737" cy="37576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37" tIns="46218" rIns="92437" bIns="4621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8817" y="4759643"/>
            <a:ext cx="5510530" cy="4509135"/>
          </a:xfrm>
          <a:prstGeom prst="rect">
            <a:avLst/>
          </a:prstGeom>
        </p:spPr>
        <p:txBody>
          <a:bodyPr vert="horz" lIns="92437" tIns="46218" rIns="92437" bIns="4621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517547"/>
            <a:ext cx="2984870" cy="501015"/>
          </a:xfrm>
          <a:prstGeom prst="rect">
            <a:avLst/>
          </a:prstGeom>
        </p:spPr>
        <p:txBody>
          <a:bodyPr vert="horz" lIns="92437" tIns="46218" rIns="92437" bIns="4621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01699" y="9517547"/>
            <a:ext cx="2984870" cy="501015"/>
          </a:xfrm>
          <a:prstGeom prst="rect">
            <a:avLst/>
          </a:prstGeom>
        </p:spPr>
        <p:txBody>
          <a:bodyPr vert="horz" lIns="92437" tIns="46218" rIns="92437" bIns="46218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25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25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25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25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25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25.03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25.03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25.03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25.03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25.03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25.03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25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31999" y="822894"/>
            <a:ext cx="7624018" cy="13849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ое бюджетное профессиональное образовательное учреждение </a:t>
            </a:r>
          </a:p>
          <a:p>
            <a:pPr algn="ctr"/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Симский механический техникум»</a:t>
            </a: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ой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 (для  </a:t>
            </a:r>
            <a:r>
              <a:rPr lang="en-US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ck off )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5508104" y="5119241"/>
            <a:ext cx="3267399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 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линина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настасия Игоревн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13849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систематизации библиотечного фонда ГБПОУ «Симский механический техникум»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4 г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000" smtClean="0"/>
              <a:t>10</a:t>
            </a:fld>
            <a:endParaRPr lang="ru-RU" sz="1000" dirty="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115616" y="72893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569" y="37804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547664" y="487842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579570"/>
              </p:ext>
            </p:extLst>
          </p:nvPr>
        </p:nvGraphicFramePr>
        <p:xfrm>
          <a:off x="251519" y="1015049"/>
          <a:ext cx="8468773" cy="5189842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245104"/>
                <a:gridCol w="1155052"/>
                <a:gridCol w="400045"/>
                <a:gridCol w="2664296"/>
                <a:gridCol w="1080120"/>
                <a:gridCol w="1224136"/>
                <a:gridCol w="1700020"/>
              </a:tblGrid>
              <a:tr h="2839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аткое описание проблемы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роприятия по решению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етственные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жидаемый результат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</a:tr>
              <a:tr h="709749">
                <a:tc rowSpan="4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rowSpan="4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стандарта процесса расстановки библиотечного фонда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стандарта расстановки библиотечного фонда по системе УДК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rowSpan="8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в. б-кой СМТ,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скобойникова Юлия Николаевна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.03.2024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и внедрение в работу библиотеки стандарта расстановки библиотечного фонда по системе УДК 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</a:tr>
              <a:tr h="5677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становка стеллажей в соответствие с требованиями ППБ и СНип2.08.02-89 (с привлечением обучающихся)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.03.2024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ндартный порядок расположения стеллажей, увеличение проходов между стендами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</a:tr>
              <a:tr h="5677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.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положение книг библиотечного фонда в соответствие с требованиями системы УДК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.03.2024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становка книг библиотечного фонда по системе УДК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</a:tr>
              <a:tr h="4258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4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готовление и размещение новых табличек для стеллажей и полок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.03.2024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изуализация библиотечного фонда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</a:tr>
              <a:tr h="709749"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ительное время поиска и выдачи учебной литературы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1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ие обучающих семинаров для преподавателей и обучающихся по работе с алфавитным и систематическим каталогами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.03.2024-18.04.2024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ирование умения у обучающихся работы с каталогами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</a:tr>
              <a:tr h="4258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2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  формы подачи заявки читателя на выдачу книг 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.03.2024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ана форма заявки читателя на запрашиваемую литературу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</a:tr>
              <a:tr h="2839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3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алгоритма поиска и выдачи книг читателю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.03.24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кращение времени выдачи книг до 2-х минут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</a:tr>
              <a:tr h="121524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grid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ализ и оценка достижения целевых показателей проекта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стигнуты целевые показатели: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Стандартная расстановка стеллажей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Номенклатура полок по стеллажам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Расстановка полок по системе УДК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Сокращение времени просмотра алфавитного и систематического каталогов читателями до 5 минут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Сокращение времени обслуживания читателя до 2 минут.  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876256" y="6356348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D8E1C705-14D6-41FD-9035-1DBB5D4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/>
          <a:srcRect l="9680" t="16401" r="8001" b="12201"/>
          <a:stretch/>
        </p:blipFill>
        <p:spPr>
          <a:xfrm>
            <a:off x="873052" y="788811"/>
            <a:ext cx="7664717" cy="5318375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5"/>
          <a:srcRect l="3800" t="21651" r="75200" b="67849"/>
          <a:stretch/>
        </p:blipFill>
        <p:spPr>
          <a:xfrm>
            <a:off x="820970" y="1628800"/>
            <a:ext cx="1800200" cy="72008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5"/>
          <a:srcRect l="71840" t="77300" r="3800" b="8001"/>
          <a:stretch/>
        </p:blipFill>
        <p:spPr>
          <a:xfrm>
            <a:off x="6449537" y="5321094"/>
            <a:ext cx="2088232" cy="1008112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6"/>
          <a:srcRect l="70160" t="22700" r="8841" b="67850"/>
          <a:stretch/>
        </p:blipFill>
        <p:spPr>
          <a:xfrm>
            <a:off x="6366733" y="1592897"/>
            <a:ext cx="2200244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141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04248" y="6412095"/>
            <a:ext cx="2133600" cy="365125"/>
          </a:xfrm>
        </p:spPr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3" name="Объект 2"/>
          <p:cNvPicPr>
            <a:picLocks noGrp="1" noChangeAspect="1"/>
          </p:cNvPicPr>
          <p:nvPr>
            <p:ph idx="1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7" t="3030" b="6787"/>
          <a:stretch/>
        </p:blipFill>
        <p:spPr>
          <a:xfrm>
            <a:off x="2339752" y="539649"/>
            <a:ext cx="4363953" cy="5777478"/>
          </a:xfrm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632308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497248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2396330" y="567429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уководитель и команда проект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280" y="1115573"/>
            <a:ext cx="1809448" cy="2374690"/>
          </a:xfrm>
          <a:prstGeom prst="rect">
            <a:avLst/>
          </a:prstGeom>
          <a:gradFill>
            <a:gsLst>
              <a:gs pos="0">
                <a:srgbClr val="002060"/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50800" cap="sq">
            <a:solidFill>
              <a:srgbClr val="002060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8" t="5516"/>
          <a:stretch/>
        </p:blipFill>
        <p:spPr>
          <a:xfrm>
            <a:off x="4918713" y="3831730"/>
            <a:ext cx="1718998" cy="2446743"/>
          </a:xfrm>
          <a:prstGeom prst="rect">
            <a:avLst/>
          </a:prstGeom>
          <a:solidFill>
            <a:srgbClr val="FFFFFF">
              <a:shade val="85000"/>
            </a:srgbClr>
          </a:solidFill>
          <a:ln w="50800" cap="sq">
            <a:solidFill>
              <a:srgbClr val="002060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02" t="3924" r="13970" b="18774"/>
          <a:stretch/>
        </p:blipFill>
        <p:spPr>
          <a:xfrm>
            <a:off x="2421531" y="3831730"/>
            <a:ext cx="1914806" cy="2477590"/>
          </a:xfrm>
          <a:prstGeom prst="rect">
            <a:avLst/>
          </a:prstGeom>
          <a:solidFill>
            <a:srgbClr val="FFFFFF">
              <a:shade val="85000"/>
            </a:srgbClr>
          </a:solidFill>
          <a:ln w="50800" cap="sq">
            <a:solidFill>
              <a:srgbClr val="002060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Прямоугольник 6"/>
          <p:cNvSpPr/>
          <p:nvPr/>
        </p:nvSpPr>
        <p:spPr>
          <a:xfrm>
            <a:off x="2439007" y="1995030"/>
            <a:ext cx="4572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оскобойникова Юлия Николаевна, Заведующий библиотекой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БПОУ «Симский механический техникум»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52287" y="4916765"/>
            <a:ext cx="226924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идяйкин Кирилл, </a:t>
            </a:r>
            <a:endPara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влекаемый обучающийся, группаТД-3А 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660663" y="4951323"/>
            <a:ext cx="216572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плов Николай, </a:t>
            </a:r>
            <a:endPara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влекаемый обучающийся,</a:t>
            </a:r>
          </a:p>
          <a:p>
            <a:pPr algn="r"/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уппа ТД-3Б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6A4A1D50-C345-4A34-88BD-4C0B81EE5703}"/>
              </a:ext>
            </a:extLst>
          </p:cNvPr>
          <p:cNvSpPr txBox="1"/>
          <p:nvPr/>
        </p:nvSpPr>
        <p:spPr>
          <a:xfrm>
            <a:off x="2433093" y="1410395"/>
            <a:ext cx="435092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роекта – </a:t>
            </a:r>
            <a:endParaRPr lang="ru-RU" sz="24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6A4A1D50-C345-4A34-88BD-4C0B81EE5703}"/>
              </a:ext>
            </a:extLst>
          </p:cNvPr>
          <p:cNvSpPr txBox="1"/>
          <p:nvPr/>
        </p:nvSpPr>
        <p:spPr>
          <a:xfrm>
            <a:off x="2474120" y="3159940"/>
            <a:ext cx="3672408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оманда проекта – </a:t>
            </a:r>
            <a:endParaRPr lang="ru-RU" sz="24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84016" y="6343878"/>
            <a:ext cx="2133600" cy="365125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0897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67995" y="6348112"/>
            <a:ext cx="2133600" cy="365125"/>
          </a:xfrm>
        </p:spPr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64" y="42278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28464" y="188677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839382" y="549674"/>
            <a:ext cx="8062213" cy="5309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формление стенда проекта</a:t>
            </a:r>
            <a:endPara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5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25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систематизации библиотечного фонда </a:t>
            </a:r>
            <a:r>
              <a:rPr lang="ru-RU" sz="125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БПОУ </a:t>
            </a:r>
            <a:r>
              <a:rPr lang="ru-RU" sz="125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25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мский </a:t>
            </a:r>
            <a:r>
              <a:rPr lang="ru-RU" sz="125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ханический техникум»</a:t>
            </a:r>
          </a:p>
        </p:txBody>
      </p:sp>
      <p:pic>
        <p:nvPicPr>
          <p:cNvPr id="6" name="Объект 5"/>
          <p:cNvPicPr>
            <a:picLocks noGrp="1" noChangeAspect="1"/>
          </p:cNvPicPr>
          <p:nvPr>
            <p:ph idx="1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4" t="8547" r="17625" b="3254"/>
          <a:stretch/>
        </p:blipFill>
        <p:spPr>
          <a:xfrm>
            <a:off x="611559" y="1140895"/>
            <a:ext cx="8255289" cy="5168425"/>
          </a:xfrm>
        </p:spPr>
      </p:pic>
    </p:spTree>
    <p:extLst>
      <p:ext uri="{BB962C8B-B14F-4D97-AF65-F5344CB8AC3E}">
        <p14:creationId xmlns:p14="http://schemas.microsoft.com/office/powerpoint/2010/main" val="9502874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167480" y="694391"/>
            <a:ext cx="8893621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арта текущего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остояния процесса </a:t>
            </a:r>
          </a:p>
          <a:p>
            <a:pPr algn="ctr"/>
            <a:r>
              <a:rPr lang="ru-RU" sz="1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систематизации библиотечного фонда ГБПОУ «Симский механический техникум»</a:t>
            </a:r>
          </a:p>
        </p:txBody>
      </p:sp>
      <p:sp>
        <p:nvSpPr>
          <p:cNvPr id="49" name="Прямоугольник 54"/>
          <p:cNvSpPr>
            <a:spLocks noChangeArrowheads="1"/>
          </p:cNvSpPr>
          <p:nvPr/>
        </p:nvSpPr>
        <p:spPr bwMode="auto">
          <a:xfrm>
            <a:off x="473296" y="4567199"/>
            <a:ext cx="1476526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:</a:t>
            </a:r>
          </a:p>
        </p:txBody>
      </p:sp>
      <p:sp>
        <p:nvSpPr>
          <p:cNvPr id="14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r>
              <a:rPr lang="ru-RU" sz="1000" dirty="0"/>
              <a:t>7</a:t>
            </a:r>
          </a:p>
        </p:txBody>
      </p:sp>
      <p:sp>
        <p:nvSpPr>
          <p:cNvPr id="17" name="TextBox 48"/>
          <p:cNvSpPr txBox="1">
            <a:spLocks noChangeArrowheads="1"/>
          </p:cNvSpPr>
          <p:nvPr/>
        </p:nvSpPr>
        <p:spPr bwMode="auto">
          <a:xfrm>
            <a:off x="4700698" y="4551910"/>
            <a:ext cx="400368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–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56,27 час.</a:t>
            </a:r>
            <a:endPara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7297959"/>
              </p:ext>
            </p:extLst>
          </p:nvPr>
        </p:nvGraphicFramePr>
        <p:xfrm>
          <a:off x="473296" y="4978166"/>
          <a:ext cx="3158335" cy="853428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315833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стандарта процесса расстановки библиотечного фонда</a:t>
                      </a:r>
                      <a:endParaRPr lang="ru-RU" altLang="ru-RU" sz="11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</a:t>
                      </a: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ительное время поиска</a:t>
                      </a:r>
                      <a:r>
                        <a:rPr lang="ru-RU" sz="1100" b="1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выдачи учебной литературы</a:t>
                      </a:r>
                      <a:endParaRPr lang="ru-RU" sz="1100" b="1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/>
          <a:srcRect l="1281" t="15350" r="2120" b="39500"/>
          <a:stretch/>
        </p:blipFill>
        <p:spPr>
          <a:xfrm>
            <a:off x="393446" y="1420900"/>
            <a:ext cx="8280920" cy="3096344"/>
          </a:xfrm>
          <a:prstGeom prst="rect">
            <a:avLst/>
          </a:prstGeom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4982" y="623398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33753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15973" y="6356729"/>
            <a:ext cx="2133600" cy="365125"/>
          </a:xfrm>
        </p:spPr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97351" y="553758"/>
            <a:ext cx="4798864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graphicFrame>
        <p:nvGraphicFramePr>
          <p:cNvPr id="3" name="Объект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01205252"/>
              </p:ext>
            </p:extLst>
          </p:nvPr>
        </p:nvGraphicFramePr>
        <p:xfrm>
          <a:off x="395536" y="1610189"/>
          <a:ext cx="8229600" cy="393192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743200"/>
                <a:gridCol w="2743200"/>
                <a:gridCol w="2743200"/>
              </a:tblGrid>
              <a:tr h="200756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</a:t>
                      </a:r>
                      <a:endParaRPr lang="ru-RU" sz="2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  <a:endParaRPr lang="ru-RU" sz="2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 решения</a:t>
                      </a:r>
                      <a:endParaRPr lang="ru-RU" sz="2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Отсутствие стандарта процесса расстановки библиотечного фонда</a:t>
                      </a:r>
                      <a:endParaRPr lang="ru-RU" sz="2000" b="1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</a:t>
                      </a:r>
                      <a:r>
                        <a:rPr lang="ru-RU" sz="2000" b="1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облюдены стандарты УДК и требования ППБ и СНиП 2.08.02-89</a:t>
                      </a:r>
                      <a:endParaRPr lang="ru-RU" sz="2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едрение в работу библиотеки стандартов УДК и требований ППБ и СНиП 2.08.02-89</a:t>
                      </a:r>
                      <a:endParaRPr lang="ru-RU" sz="2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Длительное время поиска</a:t>
                      </a:r>
                      <a:r>
                        <a:rPr lang="ru-RU" sz="2000" b="1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выдачи учебной литературы</a:t>
                      </a:r>
                      <a:endParaRPr lang="ru-RU" sz="2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формы подачи заявки читателя и  алгоритма поиска и выдачи книг читателю.</a:t>
                      </a:r>
                      <a:endParaRPr lang="ru-RU" sz="2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и внедрение в работу форму заявки читателя;</a:t>
                      </a:r>
                      <a:r>
                        <a:rPr lang="ru-RU" sz="2000" b="1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</a:t>
                      </a:r>
                      <a:r>
                        <a:rPr lang="ru-RU" sz="20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чение читателей работе с каталогами</a:t>
                      </a:r>
                      <a:endParaRPr lang="ru-RU" sz="2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455632002"/>
              </p:ext>
            </p:extLst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Пятно 1 60"/>
          <p:cNvSpPr/>
          <p:nvPr/>
        </p:nvSpPr>
        <p:spPr>
          <a:xfrm>
            <a:off x="1424455" y="5496168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2740827" y="5496168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4624437" y="1655388"/>
            <a:ext cx="4135657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роблемы, решение которых требуется </a:t>
            </a:r>
            <a:endParaRPr lang="ru-RU" sz="1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федеральном уровне – не выявлены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4677382" y="3307037"/>
            <a:ext cx="4214475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роблемы, решение которых требуется </a:t>
            </a:r>
            <a:endParaRPr lang="ru-RU" sz="1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гиональном уровне – не выявлены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4697307" y="4578602"/>
            <a:ext cx="4214475" cy="128075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itchFamily="18" charset="0"/>
              </a:rPr>
              <a:t>1 Отсутствие </a:t>
            </a:r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а процесса расстановки библиотечного </a:t>
            </a:r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онда</a:t>
            </a:r>
          </a:p>
          <a:p>
            <a:pPr>
              <a:defRPr/>
            </a:pPr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 </a:t>
            </a:r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лительное время поиска и выдачи учебной литературы</a:t>
            </a:r>
          </a:p>
        </p:txBody>
      </p:sp>
      <p:sp>
        <p:nvSpPr>
          <p:cNvPr id="25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r>
              <a:rPr lang="ru-RU" sz="1000" dirty="0" smtClean="0"/>
              <a:t>9</a:t>
            </a:r>
            <a:endParaRPr lang="ru-RU" sz="10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Прямоугольник 5"/>
          <p:cNvSpPr>
            <a:spLocks noChangeArrowheads="1"/>
          </p:cNvSpPr>
          <p:nvPr/>
        </p:nvSpPr>
        <p:spPr bwMode="auto">
          <a:xfrm>
            <a:off x="167480" y="694391"/>
            <a:ext cx="8893621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арта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целевого состояния процесса </a:t>
            </a:r>
          </a:p>
          <a:p>
            <a:pPr algn="ctr"/>
            <a:r>
              <a:rPr lang="ru-RU" sz="1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систематизации библиотечного фонда ГБПОУ «Симский механический техникум»</a:t>
            </a:r>
          </a:p>
        </p:txBody>
      </p:sp>
      <p:sp>
        <p:nvSpPr>
          <p:cNvPr id="1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r>
              <a:rPr lang="ru-RU" sz="1000" dirty="0" smtClean="0"/>
              <a:t>10</a:t>
            </a:r>
            <a:endParaRPr lang="ru-RU" sz="10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/>
          <a:srcRect l="2121" t="15350" r="3801" b="20600"/>
          <a:stretch/>
        </p:blipFill>
        <p:spPr>
          <a:xfrm>
            <a:off x="277248" y="1415367"/>
            <a:ext cx="8064896" cy="4392488"/>
          </a:xfrm>
          <a:prstGeom prst="rect">
            <a:avLst/>
          </a:prstGeom>
        </p:spPr>
      </p:pic>
      <p:sp>
        <p:nvSpPr>
          <p:cNvPr id="55" name="TextBox 48"/>
          <p:cNvSpPr txBox="1">
            <a:spLocks noChangeArrowheads="1"/>
          </p:cNvSpPr>
          <p:nvPr/>
        </p:nvSpPr>
        <p:spPr bwMode="auto">
          <a:xfrm>
            <a:off x="4614290" y="4645426"/>
            <a:ext cx="300195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ложения по улучшению</a:t>
            </a:r>
            <a:endParaRPr lang="ru-RU" sz="1600" b="1" dirty="0">
              <a:solidFill>
                <a:srgbClr val="00B0F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5114475"/>
              </p:ext>
            </p:extLst>
          </p:nvPr>
        </p:nvGraphicFramePr>
        <p:xfrm>
          <a:off x="4309696" y="4967820"/>
          <a:ext cx="3816424" cy="1870099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816424"/>
              </a:tblGrid>
              <a:tr h="216579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Создание стандарта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асстановки библиотечного фонда по системе УДК</a:t>
                      </a:r>
                      <a:endParaRPr lang="ru-RU" sz="8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88032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Перестановка стеллажей,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 соответствие с требованиями ППБ и СНиП2.08.02-89 (с привлечением обучающихся)</a:t>
                      </a:r>
                      <a:endParaRPr lang="ru-RU" sz="8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168776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Расположение книг 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иблиотечного фонда, в соответствие с требованиями системы УДК</a:t>
                      </a:r>
                      <a:endParaRPr lang="ru-RU" sz="8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193536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Изготовление и размещение новых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табличек для стеллажей и полок</a:t>
                      </a:r>
                      <a:endParaRPr lang="ru-RU" sz="8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68208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Проведение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бучающих семинаров для преподавателей и обучающихся по работе с алфавитным и систематическим каталогами</a:t>
                      </a:r>
                      <a:endParaRPr lang="ru-RU" sz="8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20960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Разработка формы подачи заявки читателя на выдачу книг</a:t>
                      </a:r>
                      <a:endParaRPr lang="ru-RU" sz="8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144016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Разработка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алгоритма поиска и выдачи книг читателю</a:t>
                      </a:r>
                      <a:endParaRPr lang="ru-RU" sz="8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8446" name="TextBox 48"/>
          <p:cNvSpPr txBox="1">
            <a:spLocks noChangeArrowheads="1"/>
          </p:cNvSpPr>
          <p:nvPr/>
        </p:nvSpPr>
        <p:spPr bwMode="auto">
          <a:xfrm>
            <a:off x="6861781" y="3026836"/>
            <a:ext cx="219932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ротекания </a:t>
            </a:r>
            <a:endParaRPr lang="ru-RU" sz="16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а – 27,95 час. </a:t>
            </a:r>
            <a:r>
              <a:rPr lang="ru-RU" sz="1600" b="1" dirty="0" smtClean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600" b="1" dirty="0">
              <a:solidFill>
                <a:srgbClr val="00B0F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97</TotalTime>
  <Words>613</Words>
  <Application>Microsoft Office PowerPoint</Application>
  <PresentationFormat>Экран (4:3)</PresentationFormat>
  <Paragraphs>136</Paragraphs>
  <Slides>1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5" baseType="lpstr">
      <vt:lpstr>Arial</vt:lpstr>
      <vt:lpstr>Calibri</vt:lpstr>
      <vt:lpstr>Times New Roman</vt:lpstr>
      <vt:lpstr>Тема Office</vt:lpstr>
      <vt:lpstr>think-cell Slide</vt:lpstr>
      <vt:lpstr>Челябинская область</vt:lpstr>
      <vt:lpstr>Презентация PowerPoint</vt:lpstr>
      <vt:lpstr>Челябинская область</vt:lpstr>
      <vt:lpstr>Челябинская область</vt:lpstr>
      <vt:lpstr>Челябинская область</vt:lpstr>
      <vt:lpstr>Презентация PowerPoint</vt:lpstr>
      <vt:lpstr>Челябинская область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Александр</cp:lastModifiedBy>
  <cp:revision>182</cp:revision>
  <cp:lastPrinted>2024-03-25T07:37:39Z</cp:lastPrinted>
  <dcterms:created xsi:type="dcterms:W3CDTF">2018-08-20T14:01:12Z</dcterms:created>
  <dcterms:modified xsi:type="dcterms:W3CDTF">2024-03-25T08:44:25Z</dcterms:modified>
</cp:coreProperties>
</file>